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9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  <p:sldMasterId id="2147484002" r:id="rId39"/>
  </p:sldMasterIdLst>
  <p:sldIdLst>
    <p:sldId id="301" r:id="rId4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0" d="100"/>
          <a:sy n="80" d="100"/>
        </p:scale>
        <p:origin x="1037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" Target="slides/slide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7.bin"/><Relationship Id="rId4" Type="http://schemas.openxmlformats.org/officeDocument/2006/relationships/image" Target="../media/image5.jpe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9.bin"/><Relationship Id="rId4" Type="http://schemas.openxmlformats.org/officeDocument/2006/relationships/image" Target="../media/image5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4" Type="http://schemas.openxmlformats.org/officeDocument/2006/relationships/image" Target="../media/image5.jpe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6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3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10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3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1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9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2.xml"/><Relationship Id="rId7" Type="http://schemas.openxmlformats.org/officeDocument/2006/relationships/image" Target="../media/image12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3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6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197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3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6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98.vml"/><Relationship Id="rId6" Type="http://schemas.openxmlformats.org/officeDocument/2006/relationships/oleObject" Target="../embeddings/oleObject198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3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16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3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3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89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070855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29820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9893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42972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5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30545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86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5730213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1773029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54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293883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93059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136911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86379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175424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56980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700754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595692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220250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2218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oleObject" Target="../embeddings/oleObject186.bin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6.vml"/><Relationship Id="rId4" Type="http://schemas.openxmlformats.org/officeDocument/2006/relationships/slideLayout" Target="../slideLayouts/slideLayout300.xml"/><Relationship Id="rId9" Type="http://schemas.openxmlformats.org/officeDocument/2006/relationships/theme" Target="../theme/theme38.xml"/><Relationship Id="rId14" Type="http://schemas.openxmlformats.org/officeDocument/2006/relationships/image" Target="../media/image3.jpe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307.xml"/><Relationship Id="rId7" Type="http://schemas.openxmlformats.org/officeDocument/2006/relationships/slideLayout" Target="../slideLayouts/slideLayout311.xml"/><Relationship Id="rId12" Type="http://schemas.openxmlformats.org/officeDocument/2006/relationships/tags" Target="../tags/tag191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30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vmlDrawing" Target="../drawings/vmlDrawing191.vml"/><Relationship Id="rId5" Type="http://schemas.openxmlformats.org/officeDocument/2006/relationships/slideLayout" Target="../slideLayouts/slideLayout309.xml"/><Relationship Id="rId15" Type="http://schemas.openxmlformats.org/officeDocument/2006/relationships/image" Target="../media/image6.emf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oleObject" Target="../embeddings/oleObject19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5049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262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August 2018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923691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600" dirty="0"/>
              <a:t>Redução de seus custos de manutenção inerentes ao uso de um motor de corrente contínu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Motor AC</a:t>
            </a:r>
            <a:endParaRPr lang="pt-BR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Redução dos custos de manutenção </a:t>
                      </a:r>
                      <a:r>
                        <a:rPr lang="en-US" sz="1200" dirty="0"/>
                        <a:t>(relativos à substituição de escovas) e aumento da vida útil e confiabilidade do mot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dirty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ubstituição do motorredutor original DC Motor e do controlador eletrônico por um motorredutor AC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 um controlador de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requência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1" b="43248"/>
          <a:stretch/>
        </p:blipFill>
        <p:spPr bwMode="auto">
          <a:xfrm>
            <a:off x="4897507" y="4246720"/>
            <a:ext cx="3629462" cy="137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bsolescência</a:t>
            </a:r>
            <a:endParaRPr kumimoji="0" lang="pt-B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eries 1 sopradoras (SBO 4/4 - SBO 4/6 - SBO 6/6 - SBO 6/10 - SBO 10/10 - SBO 10/14 - SBO 16 - SBO 24/24 - SBO 24/26 - SBO 32/26 - SBO 48/3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357</a:t>
            </a:r>
          </a:p>
        </p:txBody>
      </p:sp>
      <p:sp>
        <p:nvSpPr>
          <p:cNvPr id="11" name="Rechteck 11">
            <a:extLst>
              <a:ext uri="{FF2B5EF4-FFF2-40B4-BE49-F238E27FC236}">
                <a16:creationId xmlns:a16="http://schemas.microsoft.com/office/drawing/2014/main" id="{D7CA2E9D-BF2F-4563-A6D3-BC2F0973FBB0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644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3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9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</Words>
  <Application>Microsoft Office PowerPoint</Application>
  <PresentationFormat>On-screen Show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4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37_Sidel Template 2013</vt:lpstr>
      <vt:lpstr>LIOMT</vt:lpstr>
      <vt:lpstr>think-cell Folie</vt:lpstr>
      <vt:lpstr>Redução de seus custos de manutenção inerentes ao uso de um motor de corrente contínu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5</cp:revision>
  <dcterms:created xsi:type="dcterms:W3CDTF">2014-05-22T13:23:46Z</dcterms:created>
  <dcterms:modified xsi:type="dcterms:W3CDTF">2018-08-16T12:1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16T14:11:58.8843789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16T14:11:58.8843789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